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9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9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8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9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zh-CN" altLang="fr-F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FZZhunYuan-M02S" pitchFamily="34" charset="-128"/>
                <a:cs typeface="+mn-cs"/>
              </a:rPr>
              <a:t>价值和益处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FZZhunYuan-M02S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zh-CN" altLang="fr-FR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FZZhunYuan-M02S"/>
                <a:cs typeface="Arial" charset="0"/>
              </a:rPr>
              <a:t>描述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 dirty="0"/>
              <a:t>预计出现备件短缺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zh-CN" altLang="fr-FR" dirty="0"/>
              <a:t>新 </a:t>
            </a:r>
            <a:r>
              <a:rPr lang="fr-FR" altLang="zh-CN" dirty="0"/>
              <a:t>S7-1500 PLC</a:t>
            </a:r>
            <a:endParaRPr lang="zh-CN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价值：</a:t>
            </a:r>
            <a:r>
              <a:rPr lang="en-US" sz="800" dirty="0">
                <a:solidFill>
                  <a:srgbClr val="000000"/>
                </a:solidFill>
                <a:latin typeface="方正准圆简体"/>
                <a:cs typeface="方正准圆简体"/>
              </a:rPr>
              <a:t> </a:t>
            </a:r>
            <a:r>
              <a:rPr lang="en-US" sz="800" dirty="0" err="1">
                <a:solidFill>
                  <a:srgbClr val="000000"/>
                </a:solidFill>
                <a:latin typeface="方正准圆简体"/>
                <a:cs typeface="方正准圆简体"/>
              </a:rPr>
              <a:t>增强维护</a:t>
            </a:r>
            <a:r>
              <a:rPr lang="en-US" sz="800" dirty="0">
                <a:solidFill>
                  <a:srgbClr val="000000"/>
                </a:solidFill>
                <a:latin typeface="方正准圆简体"/>
                <a:cs typeface="方正准圆简体"/>
              </a:rPr>
              <a:t>，</a:t>
            </a:r>
            <a:r>
              <a:rPr lang="en-US" sz="800" kern="0" noProof="1">
                <a:solidFill>
                  <a:srgbClr val="000000"/>
                </a:solidFill>
                <a:latin typeface="FZZhunYuan-M02S"/>
                <a:cs typeface="FZZhunYuan-M02S"/>
              </a:rPr>
              <a:t> 生产效率</a:t>
            </a:r>
          </a:p>
          <a:p>
            <a:pPr lvl="0"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设备：</a:t>
            </a:r>
            <a:r>
              <a:rPr lang="en-GB" altLang="fr-FR" sz="800" dirty="0">
                <a:solidFill>
                  <a:srgbClr val="000000"/>
                </a:solidFill>
              </a:rPr>
              <a:t> </a:t>
            </a:r>
            <a:r>
              <a:rPr lang="en-US" sz="800" kern="0" dirty="0"/>
              <a:t>All Packing equipment ( Except Palletizer P4) </a:t>
            </a:r>
            <a:endParaRPr kumimoji="0" lang="fr-FR" altLang="zh-CN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FZZhunYuan-M02S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产品目录代码：</a:t>
            </a: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FZZhunYuan-M02S"/>
                <a:cs typeface="+mn-cs"/>
              </a:rPr>
              <a:t>CLC-055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FZZhunYuan-M02S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5000" indent="-135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50" dirty="0"/>
              <a:t>Supply of Siemens PLC S7-1500 of the latest technology.</a:t>
            </a:r>
          </a:p>
          <a:p>
            <a:pPr marL="135000" indent="-135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50" dirty="0"/>
              <a:t>Installed with Controller TIA Portal </a:t>
            </a:r>
          </a:p>
          <a:p>
            <a:pPr lvl="1" indent="-171450">
              <a:buClr>
                <a:schemeClr val="accent4"/>
              </a:buClr>
              <a:buFont typeface="Wingdings" panose="05000000000000000000" pitchFamily="2" charset="2"/>
              <a:buChar char="Ø"/>
              <a:defRPr/>
            </a:pPr>
            <a:r>
              <a:rPr lang="en-GB" sz="1050" dirty="0"/>
              <a:t>license to buy directly by customer at Siemens</a:t>
            </a:r>
            <a:endParaRPr lang="en-US" altLang="x-none" sz="1100" dirty="0">
              <a:solidFill>
                <a:srgbClr val="000000"/>
              </a:solidFill>
            </a:endParaRPr>
          </a:p>
        </p:txBody>
      </p:sp>
      <p:pic>
        <p:nvPicPr>
          <p:cNvPr id="18" name="Image 2" descr="image003">
            <a:extLst>
              <a:ext uri="{FF2B5EF4-FFF2-40B4-BE49-F238E27FC236}">
                <a16:creationId xmlns:a16="http://schemas.microsoft.com/office/drawing/2014/main" id="{52D85CAE-A442-44B2-9370-6BCECA0FBD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8892" y="3339953"/>
            <a:ext cx="2621372" cy="121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Image 32">
            <a:extLst>
              <a:ext uri="{FF2B5EF4-FFF2-40B4-BE49-F238E27FC236}">
                <a16:creationId xmlns:a16="http://schemas.microsoft.com/office/drawing/2014/main" id="{42210AF0-3EA2-4E4A-A297-422C2D60DC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23388" y="4598251"/>
            <a:ext cx="2666876" cy="111702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7889D1A8-1501-46CD-A748-DB12D431DCEB}"/>
              </a:ext>
            </a:extLst>
          </p:cNvPr>
          <p:cNvSpPr/>
          <p:nvPr/>
        </p:nvSpPr>
        <p:spPr>
          <a:xfrm>
            <a:off x="654599" y="2164812"/>
            <a:ext cx="3884063" cy="29623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Performance optimization.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Reliability and productivity increase.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Functional design, easy handling and maximum user-friendliness in many new details: integrated potential jumpers, shielding elements that can be mounted without tools, uniform front connectors, ergonomic terminal labelling.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Maintenance staff autonomy.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Increased memory capacity allowing additional format sizes.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New functionalities possible as options (adjustments more accurate, shorter response times, and command processing time up to 1ns in the CPU).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Diagnosis facilitated for the maintenance.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High safety &amp; security level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Increase of the machine life cycle more than 50 000h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endParaRPr lang="en-GB" sz="1050" dirty="0">
              <a:ea typeface="Times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963</TotalTime>
  <Words>166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宋体</vt:lpstr>
      <vt:lpstr>Arial</vt:lpstr>
      <vt:lpstr>FZZhunYuan-M02S</vt:lpstr>
      <vt:lpstr>Times</vt:lpstr>
      <vt:lpstr>Times New Roman</vt:lpstr>
      <vt:lpstr>Wingdings</vt:lpstr>
      <vt:lpstr>方正准圆简体</vt:lpstr>
      <vt:lpstr>1_NewSidel_Template_4x3_with add layouts</vt:lpstr>
      <vt:lpstr>think-cell Folie</vt:lpstr>
      <vt:lpstr>预计出现备件短缺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93</cp:revision>
  <dcterms:created xsi:type="dcterms:W3CDTF">2019-02-20T10:39:16Z</dcterms:created>
  <dcterms:modified xsi:type="dcterms:W3CDTF">2021-06-09T13:44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6-09T13:44:26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